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3"/>
  </p:notesMasterIdLst>
  <p:sldIdLst>
    <p:sldId id="259" r:id="rId2"/>
  </p:sldIdLst>
  <p:sldSz cx="7556500" cy="106934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IBM Plex Mono" panose="020B0509050203000203" pitchFamily="49" charset="0"/>
      <p:regular r:id="rId8"/>
      <p:bold r:id="rId9"/>
      <p:italic r:id="rId10"/>
      <p:boldItalic r:id="rId1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1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399" autoAdjust="0"/>
    <p:restoredTop sz="96081" autoAdjust="0"/>
  </p:normalViewPr>
  <p:slideViewPr>
    <p:cSldViewPr>
      <p:cViewPr>
        <p:scale>
          <a:sx n="50" d="100"/>
          <a:sy n="50" d="100"/>
        </p:scale>
        <p:origin x="1374" y="684"/>
      </p:cViewPr>
      <p:guideLst>
        <p:guide orient="horz" pos="221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5.fntdata"/><Relationship Id="rId13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font" Target="fonts/font8.fntdata"/><Relationship Id="rId5" Type="http://schemas.openxmlformats.org/officeDocument/2006/relationships/font" Target="fonts/font2.fntdata"/><Relationship Id="rId15" Type="http://schemas.openxmlformats.org/officeDocument/2006/relationships/tableStyles" Target="tableStyles.xml"/><Relationship Id="rId10" Type="http://schemas.openxmlformats.org/officeDocument/2006/relationships/font" Target="fonts/font7.fntdata"/><Relationship Id="rId4" Type="http://schemas.openxmlformats.org/officeDocument/2006/relationships/font" Target="fonts/font1.fntdata"/><Relationship Id="rId9" Type="http://schemas.openxmlformats.org/officeDocument/2006/relationships/font" Target="fonts/font6.fntdata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A46CE0-6C49-42DB-868D-002C7B42C655}" type="datetimeFigureOut">
              <a:rPr lang="en-US" smtClean="0"/>
              <a:t>11/1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E9CB99-20CB-4C66-9E52-3514EC6F98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074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 4">
            <a:extLst>
              <a:ext uri="{FF2B5EF4-FFF2-40B4-BE49-F238E27FC236}">
                <a16:creationId xmlns:a16="http://schemas.microsoft.com/office/drawing/2014/main" id="{6C461C28-A315-CD4C-C8FE-8B76A2EC0B66}"/>
              </a:ext>
            </a:extLst>
          </p:cNvPr>
          <p:cNvGrpSpPr/>
          <p:nvPr/>
        </p:nvGrpSpPr>
        <p:grpSpPr>
          <a:xfrm>
            <a:off x="1" y="646964"/>
            <a:ext cx="7556498" cy="10045037"/>
            <a:chOff x="1" y="646964"/>
            <a:chExt cx="7556498" cy="10045037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674105EE-2634-F740-304D-C176BA84E57E}"/>
                </a:ext>
              </a:extLst>
            </p:cNvPr>
            <p:cNvGrpSpPr/>
            <p:nvPr/>
          </p:nvGrpSpPr>
          <p:grpSpPr>
            <a:xfrm>
              <a:off x="1" y="10421969"/>
              <a:ext cx="7556498" cy="270032"/>
              <a:chOff x="1" y="10421969"/>
              <a:chExt cx="7556498" cy="270032"/>
            </a:xfrm>
          </p:grpSpPr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583B665-858C-AFAC-58F4-79BBB2243A12}"/>
                  </a:ext>
                </a:extLst>
              </p:cNvPr>
              <p:cNvSpPr/>
              <p:nvPr/>
            </p:nvSpPr>
            <p:spPr>
              <a:xfrm>
                <a:off x="3791906" y="10421969"/>
                <a:ext cx="3764593" cy="270032"/>
              </a:xfrm>
              <a:custGeom>
                <a:avLst/>
                <a:gdLst>
                  <a:gd name="connsiteX0" fmla="*/ 148268 w 3764593"/>
                  <a:gd name="connsiteY0" fmla="*/ 0 h 270032"/>
                  <a:gd name="connsiteX1" fmla="*/ 3764593 w 3764593"/>
                  <a:gd name="connsiteY1" fmla="*/ 0 h 270032"/>
                  <a:gd name="connsiteX2" fmla="*/ 3764593 w 3764593"/>
                  <a:gd name="connsiteY2" fmla="*/ 270032 h 270032"/>
                  <a:gd name="connsiteX3" fmla="*/ 0 w 3764593"/>
                  <a:gd name="connsiteY3" fmla="*/ 270032 h 270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64593" h="270032">
                    <a:moveTo>
                      <a:pt x="148268" y="0"/>
                    </a:moveTo>
                    <a:lnTo>
                      <a:pt x="3764593" y="0"/>
                    </a:lnTo>
                    <a:lnTo>
                      <a:pt x="3764593" y="270032"/>
                    </a:lnTo>
                    <a:lnTo>
                      <a:pt x="0" y="270032"/>
                    </a:lnTo>
                    <a:close/>
                  </a:path>
                </a:pathLst>
              </a:custGeom>
              <a:solidFill>
                <a:srgbClr val="F87E00"/>
              </a:solid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EFB22BA-E5C4-393F-F3DB-E8AFA00DA934}"/>
                  </a:ext>
                </a:extLst>
              </p:cNvPr>
              <p:cNvSpPr/>
              <p:nvPr/>
            </p:nvSpPr>
            <p:spPr>
              <a:xfrm>
                <a:off x="1" y="10421969"/>
                <a:ext cx="3876991" cy="270032"/>
              </a:xfrm>
              <a:custGeom>
                <a:avLst/>
                <a:gdLst>
                  <a:gd name="connsiteX0" fmla="*/ 0 w 3876991"/>
                  <a:gd name="connsiteY0" fmla="*/ 0 h 270032"/>
                  <a:gd name="connsiteX1" fmla="*/ 3876991 w 3876991"/>
                  <a:gd name="connsiteY1" fmla="*/ 0 h 270032"/>
                  <a:gd name="connsiteX2" fmla="*/ 3728723 w 3876991"/>
                  <a:gd name="connsiteY2" fmla="*/ 270032 h 270032"/>
                  <a:gd name="connsiteX3" fmla="*/ 0 w 3876991"/>
                  <a:gd name="connsiteY3" fmla="*/ 270032 h 270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76991" h="270032">
                    <a:moveTo>
                      <a:pt x="0" y="0"/>
                    </a:moveTo>
                    <a:lnTo>
                      <a:pt x="3876991" y="0"/>
                    </a:lnTo>
                    <a:lnTo>
                      <a:pt x="3728723" y="270032"/>
                    </a:lnTo>
                    <a:lnTo>
                      <a:pt x="0" y="270032"/>
                    </a:lnTo>
                    <a:close/>
                  </a:path>
                </a:pathLst>
              </a:custGeom>
              <a:solidFill>
                <a:srgbClr val="F87E00">
                  <a:alpha val="80000"/>
                </a:srgbClr>
              </a:solid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DDCCD26D-EFC1-B406-998E-CE32518B0EAC}"/>
                </a:ext>
              </a:extLst>
            </p:cNvPr>
            <p:cNvGrpSpPr/>
            <p:nvPr/>
          </p:nvGrpSpPr>
          <p:grpSpPr>
            <a:xfrm>
              <a:off x="738642" y="8286988"/>
              <a:ext cx="6082638" cy="1553909"/>
              <a:chOff x="738642" y="8286988"/>
              <a:chExt cx="6082638" cy="1553909"/>
            </a:xfrm>
          </p:grpSpPr>
          <p:sp>
            <p:nvSpPr>
              <p:cNvPr id="56" name="Freeform 56"/>
              <p:cNvSpPr/>
              <p:nvPr/>
            </p:nvSpPr>
            <p:spPr>
              <a:xfrm>
                <a:off x="738642" y="8286988"/>
                <a:ext cx="6082638" cy="305659"/>
              </a:xfrm>
              <a:custGeom>
                <a:avLst/>
                <a:gdLst/>
                <a:ahLst/>
                <a:cxnLst/>
                <a:rect l="l" t="t" r="r" b="b"/>
                <a:pathLst>
                  <a:path w="2341640" h="119112">
                    <a:moveTo>
                      <a:pt x="0" y="0"/>
                    </a:moveTo>
                    <a:lnTo>
                      <a:pt x="2341640" y="0"/>
                    </a:lnTo>
                    <a:lnTo>
                      <a:pt x="2341640" y="119112"/>
                    </a:lnTo>
                    <a:lnTo>
                      <a:pt x="0" y="119112"/>
                    </a:lnTo>
                    <a:close/>
                  </a:path>
                </a:pathLst>
              </a:custGeom>
              <a:solidFill>
                <a:srgbClr val="F87E00">
                  <a:alpha val="80000"/>
                </a:srgbClr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" name="Freeform 58"/>
              <p:cNvSpPr/>
              <p:nvPr/>
            </p:nvSpPr>
            <p:spPr>
              <a:xfrm>
                <a:off x="903675" y="8377464"/>
                <a:ext cx="82987" cy="124707"/>
              </a:xfrm>
              <a:custGeom>
                <a:avLst/>
                <a:gdLst/>
                <a:ahLst/>
                <a:cxnLst/>
                <a:rect l="l" t="t" r="r" b="b"/>
                <a:pathLst>
                  <a:path w="82987" h="124707">
                    <a:moveTo>
                      <a:pt x="0" y="0"/>
                    </a:moveTo>
                    <a:lnTo>
                      <a:pt x="82987" y="0"/>
                    </a:lnTo>
                    <a:lnTo>
                      <a:pt x="82987" y="124707"/>
                    </a:lnTo>
                    <a:lnTo>
                      <a:pt x="0" y="12470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" name="TextBox 59"/>
              <p:cNvSpPr txBox="1"/>
              <p:nvPr/>
            </p:nvSpPr>
            <p:spPr>
              <a:xfrm>
                <a:off x="1155770" y="8356044"/>
                <a:ext cx="1185426" cy="16754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16"/>
                  </a:lnSpc>
                  <a:spcBef>
                    <a:spcPct val="0"/>
                  </a:spcBef>
                </a:pPr>
                <a:r>
                  <a:rPr lang="en-US" sz="1000" b="1" dirty="0">
                    <a:solidFill>
                      <a:srgbClr val="FFFFFF"/>
                    </a:solidFill>
                    <a:latin typeface="IBM Plex Mono" panose="020B0509050203000203" pitchFamily="49" charset="0"/>
                  </a:rPr>
                  <a:t>NOTES</a:t>
                </a:r>
              </a:p>
            </p:txBody>
          </p:sp>
          <p:sp>
            <p:nvSpPr>
              <p:cNvPr id="60" name="AutoShape 60"/>
              <p:cNvSpPr/>
              <p:nvPr/>
            </p:nvSpPr>
            <p:spPr>
              <a:xfrm>
                <a:off x="738642" y="8901138"/>
                <a:ext cx="6082638" cy="0"/>
              </a:xfrm>
              <a:prstGeom prst="line">
                <a:avLst/>
              </a:prstGeom>
              <a:ln w="9525" cap="flat">
                <a:solidFill>
                  <a:srgbClr val="F87E00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" name="AutoShape 60">
                <a:extLst>
                  <a:ext uri="{FF2B5EF4-FFF2-40B4-BE49-F238E27FC236}">
                    <a16:creationId xmlns:a16="http://schemas.microsoft.com/office/drawing/2014/main" id="{A7681B54-107B-9B54-1BB1-3FC650992507}"/>
                  </a:ext>
                </a:extLst>
              </p:cNvPr>
              <p:cNvSpPr/>
              <p:nvPr/>
            </p:nvSpPr>
            <p:spPr>
              <a:xfrm>
                <a:off x="738642" y="9214391"/>
                <a:ext cx="6082638" cy="0"/>
              </a:xfrm>
              <a:prstGeom prst="line">
                <a:avLst/>
              </a:prstGeom>
              <a:ln w="9525" cap="flat">
                <a:solidFill>
                  <a:srgbClr val="F87E00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" name="AutoShape 60">
                <a:extLst>
                  <a:ext uri="{FF2B5EF4-FFF2-40B4-BE49-F238E27FC236}">
                    <a16:creationId xmlns:a16="http://schemas.microsoft.com/office/drawing/2014/main" id="{F7222964-3588-CC32-7853-03816F448924}"/>
                  </a:ext>
                </a:extLst>
              </p:cNvPr>
              <p:cNvSpPr/>
              <p:nvPr/>
            </p:nvSpPr>
            <p:spPr>
              <a:xfrm>
                <a:off x="738642" y="9527644"/>
                <a:ext cx="6082638" cy="0"/>
              </a:xfrm>
              <a:prstGeom prst="line">
                <a:avLst/>
              </a:prstGeom>
              <a:ln w="9525" cap="flat">
                <a:solidFill>
                  <a:srgbClr val="F87E00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" name="AutoShape 60">
                <a:extLst>
                  <a:ext uri="{FF2B5EF4-FFF2-40B4-BE49-F238E27FC236}">
                    <a16:creationId xmlns:a16="http://schemas.microsoft.com/office/drawing/2014/main" id="{CA9ACF29-1D34-7A23-2C95-7B2EEF7D6A1D}"/>
                  </a:ext>
                </a:extLst>
              </p:cNvPr>
              <p:cNvSpPr/>
              <p:nvPr/>
            </p:nvSpPr>
            <p:spPr>
              <a:xfrm>
                <a:off x="738642" y="9840897"/>
                <a:ext cx="6082638" cy="0"/>
              </a:xfrm>
              <a:prstGeom prst="line">
                <a:avLst/>
              </a:prstGeom>
              <a:ln w="9525" cap="flat">
                <a:solidFill>
                  <a:srgbClr val="F87E00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6CA0650B-B81F-2BFC-051C-49DD676F9895}"/>
                </a:ext>
              </a:extLst>
            </p:cNvPr>
            <p:cNvGrpSpPr/>
            <p:nvPr/>
          </p:nvGrpSpPr>
          <p:grpSpPr>
            <a:xfrm>
              <a:off x="738642" y="3844756"/>
              <a:ext cx="6082717" cy="4082096"/>
              <a:chOff x="738642" y="3844756"/>
              <a:chExt cx="6082717" cy="4082096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F3563625-9E7D-396F-B297-8A18EC1C6756}"/>
                  </a:ext>
                </a:extLst>
              </p:cNvPr>
              <p:cNvGrpSpPr/>
              <p:nvPr/>
            </p:nvGrpSpPr>
            <p:grpSpPr>
              <a:xfrm>
                <a:off x="738642" y="3844756"/>
                <a:ext cx="6082717" cy="305659"/>
                <a:chOff x="738642" y="3844756"/>
                <a:chExt cx="6082717" cy="305659"/>
              </a:xfrm>
            </p:grpSpPr>
            <p:sp>
              <p:nvSpPr>
                <p:cNvPr id="15" name="Freeform 15"/>
                <p:cNvSpPr/>
                <p:nvPr/>
              </p:nvSpPr>
              <p:spPr>
                <a:xfrm>
                  <a:off x="738642" y="3844756"/>
                  <a:ext cx="6082717" cy="3056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70369" h="119112">
                      <a:moveTo>
                        <a:pt x="0" y="0"/>
                      </a:moveTo>
                      <a:lnTo>
                        <a:pt x="2370369" y="0"/>
                      </a:lnTo>
                      <a:lnTo>
                        <a:pt x="2370369" y="119112"/>
                      </a:lnTo>
                      <a:lnTo>
                        <a:pt x="0" y="119112"/>
                      </a:lnTo>
                      <a:close/>
                    </a:path>
                  </a:pathLst>
                </a:custGeom>
                <a:solidFill>
                  <a:srgbClr val="F87E00">
                    <a:alpha val="88627"/>
                  </a:srgbClr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" name="Freeform 17"/>
                <p:cNvSpPr/>
                <p:nvPr/>
              </p:nvSpPr>
              <p:spPr>
                <a:xfrm>
                  <a:off x="884171" y="3935232"/>
                  <a:ext cx="82987" cy="12470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987" h="124707">
                      <a:moveTo>
                        <a:pt x="0" y="0"/>
                      </a:moveTo>
                      <a:lnTo>
                        <a:pt x="82987" y="0"/>
                      </a:lnTo>
                      <a:lnTo>
                        <a:pt x="82987" y="124707"/>
                      </a:lnTo>
                      <a:lnTo>
                        <a:pt x="0" y="12470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" name="TextBox 18"/>
                <p:cNvSpPr txBox="1"/>
                <p:nvPr/>
              </p:nvSpPr>
              <p:spPr>
                <a:xfrm>
                  <a:off x="1136266" y="3913812"/>
                  <a:ext cx="1185426" cy="16754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416"/>
                    </a:lnSpc>
                    <a:spcBef>
                      <a:spcPct val="0"/>
                    </a:spcBef>
                  </a:pPr>
                  <a:r>
                    <a:rPr lang="en-US" sz="1000" b="1" dirty="0">
                      <a:solidFill>
                        <a:srgbClr val="FFFFFF"/>
                      </a:solidFill>
                      <a:latin typeface="IBM Plex Mono" panose="020B0509050203000203" pitchFamily="49" charset="0"/>
                    </a:rPr>
                    <a:t>AGENDA</a:t>
                  </a:r>
                </a:p>
              </p:txBody>
            </p:sp>
            <p:sp>
              <p:nvSpPr>
                <p:cNvPr id="19" name="TextBox 19"/>
                <p:cNvSpPr txBox="1"/>
                <p:nvPr/>
              </p:nvSpPr>
              <p:spPr>
                <a:xfrm>
                  <a:off x="5487111" y="3913973"/>
                  <a:ext cx="1185426" cy="16722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r">
                    <a:lnSpc>
                      <a:spcPts val="1416"/>
                    </a:lnSpc>
                    <a:spcBef>
                      <a:spcPct val="0"/>
                    </a:spcBef>
                  </a:pPr>
                  <a:r>
                    <a:rPr lang="en-US" sz="1000" dirty="0">
                      <a:solidFill>
                        <a:srgbClr val="FFFFFF"/>
                      </a:solidFill>
                      <a:latin typeface="IBM Plex Mono"/>
                    </a:rPr>
                    <a:t>Estimated time</a:t>
                  </a:r>
                </a:p>
              </p:txBody>
            </p:sp>
          </p:grpSp>
          <p:sp>
            <p:nvSpPr>
              <p:cNvPr id="21" name="Freeform 21"/>
              <p:cNvSpPr/>
              <p:nvPr/>
            </p:nvSpPr>
            <p:spPr>
              <a:xfrm>
                <a:off x="738642" y="4273271"/>
                <a:ext cx="6082717" cy="629619"/>
              </a:xfrm>
              <a:custGeom>
                <a:avLst/>
                <a:gdLst/>
                <a:ahLst/>
                <a:cxnLst/>
                <a:rect l="l" t="t" r="r" b="b"/>
                <a:pathLst>
                  <a:path w="3941622" h="407995">
                    <a:moveTo>
                      <a:pt x="0" y="0"/>
                    </a:moveTo>
                    <a:lnTo>
                      <a:pt x="3941622" y="0"/>
                    </a:lnTo>
                    <a:lnTo>
                      <a:pt x="3941622" y="407995"/>
                    </a:lnTo>
                    <a:lnTo>
                      <a:pt x="0" y="407995"/>
                    </a:lnTo>
                    <a:close/>
                  </a:path>
                </a:pathLst>
              </a:custGeom>
              <a:solidFill>
                <a:srgbClr val="F87E00">
                  <a:alpha val="4706"/>
                </a:srgbClr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" name="AutoShape 23"/>
              <p:cNvSpPr/>
              <p:nvPr/>
            </p:nvSpPr>
            <p:spPr>
              <a:xfrm>
                <a:off x="5565086" y="4273271"/>
                <a:ext cx="0" cy="632431"/>
              </a:xfrm>
              <a:prstGeom prst="line">
                <a:avLst/>
              </a:prstGeom>
              <a:ln w="9525" cap="flat">
                <a:solidFill>
                  <a:srgbClr val="F87E00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" name="Freeform 25"/>
              <p:cNvSpPr/>
              <p:nvPr/>
            </p:nvSpPr>
            <p:spPr>
              <a:xfrm>
                <a:off x="738642" y="5028559"/>
                <a:ext cx="6082717" cy="629619"/>
              </a:xfrm>
              <a:custGeom>
                <a:avLst/>
                <a:gdLst/>
                <a:ahLst/>
                <a:cxnLst/>
                <a:rect l="l" t="t" r="r" b="b"/>
                <a:pathLst>
                  <a:path w="3941622" h="407995">
                    <a:moveTo>
                      <a:pt x="0" y="0"/>
                    </a:moveTo>
                    <a:lnTo>
                      <a:pt x="3941622" y="0"/>
                    </a:lnTo>
                    <a:lnTo>
                      <a:pt x="3941622" y="407995"/>
                    </a:lnTo>
                    <a:lnTo>
                      <a:pt x="0" y="407995"/>
                    </a:lnTo>
                    <a:close/>
                  </a:path>
                </a:pathLst>
              </a:custGeom>
              <a:solidFill>
                <a:srgbClr val="F87E00">
                  <a:alpha val="4706"/>
                </a:srgbClr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" name="AutoShape 27"/>
              <p:cNvSpPr/>
              <p:nvPr/>
            </p:nvSpPr>
            <p:spPr>
              <a:xfrm>
                <a:off x="5565086" y="5028559"/>
                <a:ext cx="0" cy="632431"/>
              </a:xfrm>
              <a:prstGeom prst="line">
                <a:avLst/>
              </a:prstGeom>
              <a:ln w="9525" cap="flat">
                <a:solidFill>
                  <a:srgbClr val="F87E00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" name="Freeform 29"/>
              <p:cNvSpPr/>
              <p:nvPr/>
            </p:nvSpPr>
            <p:spPr>
              <a:xfrm>
                <a:off x="738642" y="5783846"/>
                <a:ext cx="6082717" cy="629619"/>
              </a:xfrm>
              <a:custGeom>
                <a:avLst/>
                <a:gdLst/>
                <a:ahLst/>
                <a:cxnLst/>
                <a:rect l="l" t="t" r="r" b="b"/>
                <a:pathLst>
                  <a:path w="3941622" h="407995">
                    <a:moveTo>
                      <a:pt x="0" y="0"/>
                    </a:moveTo>
                    <a:lnTo>
                      <a:pt x="3941622" y="0"/>
                    </a:lnTo>
                    <a:lnTo>
                      <a:pt x="3941622" y="407995"/>
                    </a:lnTo>
                    <a:lnTo>
                      <a:pt x="0" y="407995"/>
                    </a:lnTo>
                    <a:close/>
                  </a:path>
                </a:pathLst>
              </a:custGeom>
              <a:solidFill>
                <a:srgbClr val="F87E00">
                  <a:alpha val="4706"/>
                </a:srgbClr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AutoShape 31"/>
              <p:cNvSpPr/>
              <p:nvPr/>
            </p:nvSpPr>
            <p:spPr>
              <a:xfrm>
                <a:off x="5565086" y="5783846"/>
                <a:ext cx="0" cy="632431"/>
              </a:xfrm>
              <a:prstGeom prst="line">
                <a:avLst/>
              </a:prstGeom>
              <a:ln w="9525" cap="flat">
                <a:solidFill>
                  <a:srgbClr val="F87E00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" name="Freeform 33"/>
              <p:cNvSpPr/>
              <p:nvPr/>
            </p:nvSpPr>
            <p:spPr>
              <a:xfrm>
                <a:off x="738642" y="6539134"/>
                <a:ext cx="6082717" cy="629619"/>
              </a:xfrm>
              <a:custGeom>
                <a:avLst/>
                <a:gdLst/>
                <a:ahLst/>
                <a:cxnLst/>
                <a:rect l="l" t="t" r="r" b="b"/>
                <a:pathLst>
                  <a:path w="3941622" h="407995">
                    <a:moveTo>
                      <a:pt x="0" y="0"/>
                    </a:moveTo>
                    <a:lnTo>
                      <a:pt x="3941622" y="0"/>
                    </a:lnTo>
                    <a:lnTo>
                      <a:pt x="3941622" y="407995"/>
                    </a:lnTo>
                    <a:lnTo>
                      <a:pt x="0" y="407995"/>
                    </a:lnTo>
                    <a:close/>
                  </a:path>
                </a:pathLst>
              </a:custGeom>
              <a:solidFill>
                <a:srgbClr val="F87E00">
                  <a:alpha val="4706"/>
                </a:srgbClr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" name="AutoShape 35"/>
              <p:cNvSpPr/>
              <p:nvPr/>
            </p:nvSpPr>
            <p:spPr>
              <a:xfrm>
                <a:off x="5565086" y="6539134"/>
                <a:ext cx="0" cy="632431"/>
              </a:xfrm>
              <a:prstGeom prst="line">
                <a:avLst/>
              </a:prstGeom>
              <a:ln w="9525" cap="flat">
                <a:solidFill>
                  <a:srgbClr val="F87E00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" name="Freeform 37"/>
              <p:cNvSpPr/>
              <p:nvPr/>
            </p:nvSpPr>
            <p:spPr>
              <a:xfrm>
                <a:off x="738642" y="7294421"/>
                <a:ext cx="6082717" cy="629619"/>
              </a:xfrm>
              <a:custGeom>
                <a:avLst/>
                <a:gdLst/>
                <a:ahLst/>
                <a:cxnLst/>
                <a:rect l="l" t="t" r="r" b="b"/>
                <a:pathLst>
                  <a:path w="3941622" h="407995">
                    <a:moveTo>
                      <a:pt x="0" y="0"/>
                    </a:moveTo>
                    <a:lnTo>
                      <a:pt x="3941622" y="0"/>
                    </a:lnTo>
                    <a:lnTo>
                      <a:pt x="3941622" y="407995"/>
                    </a:lnTo>
                    <a:lnTo>
                      <a:pt x="0" y="407995"/>
                    </a:lnTo>
                    <a:close/>
                  </a:path>
                </a:pathLst>
              </a:custGeom>
              <a:solidFill>
                <a:srgbClr val="F87E00">
                  <a:alpha val="4706"/>
                </a:srgbClr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" name="AutoShape 39"/>
              <p:cNvSpPr/>
              <p:nvPr/>
            </p:nvSpPr>
            <p:spPr>
              <a:xfrm>
                <a:off x="5565086" y="7294421"/>
                <a:ext cx="0" cy="632431"/>
              </a:xfrm>
              <a:prstGeom prst="line">
                <a:avLst/>
              </a:prstGeom>
              <a:ln w="9525" cap="flat">
                <a:solidFill>
                  <a:srgbClr val="F87E00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00F3F424-2A3F-4FD9-3917-5D770DB61A02}"/>
                </a:ext>
              </a:extLst>
            </p:cNvPr>
            <p:cNvGrpSpPr/>
            <p:nvPr/>
          </p:nvGrpSpPr>
          <p:grpSpPr>
            <a:xfrm>
              <a:off x="738642" y="1868051"/>
              <a:ext cx="6082717" cy="1611807"/>
              <a:chOff x="738642" y="1868051"/>
              <a:chExt cx="6082717" cy="1611807"/>
            </a:xfrm>
          </p:grpSpPr>
          <p:sp>
            <p:nvSpPr>
              <p:cNvPr id="41" name="Freeform 41"/>
              <p:cNvSpPr/>
              <p:nvPr/>
            </p:nvSpPr>
            <p:spPr>
              <a:xfrm>
                <a:off x="738642" y="1868051"/>
                <a:ext cx="6082717" cy="305659"/>
              </a:xfrm>
              <a:custGeom>
                <a:avLst/>
                <a:gdLst/>
                <a:ahLst/>
                <a:cxnLst/>
                <a:rect l="l" t="t" r="r" b="b"/>
                <a:pathLst>
                  <a:path w="2370369" h="119112">
                    <a:moveTo>
                      <a:pt x="0" y="0"/>
                    </a:moveTo>
                    <a:lnTo>
                      <a:pt x="2370369" y="0"/>
                    </a:lnTo>
                    <a:lnTo>
                      <a:pt x="2370369" y="119112"/>
                    </a:lnTo>
                    <a:lnTo>
                      <a:pt x="0" y="119112"/>
                    </a:lnTo>
                    <a:close/>
                  </a:path>
                </a:pathLst>
              </a:custGeom>
              <a:solidFill>
                <a:srgbClr val="F87E00">
                  <a:alpha val="80000"/>
                </a:srgbClr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" name="Freeform 43"/>
              <p:cNvSpPr/>
              <p:nvPr/>
            </p:nvSpPr>
            <p:spPr>
              <a:xfrm>
                <a:off x="884171" y="1958527"/>
                <a:ext cx="82987" cy="124707"/>
              </a:xfrm>
              <a:custGeom>
                <a:avLst/>
                <a:gdLst/>
                <a:ahLst/>
                <a:cxnLst/>
                <a:rect l="l" t="t" r="r" b="b"/>
                <a:pathLst>
                  <a:path w="82987" h="124707">
                    <a:moveTo>
                      <a:pt x="0" y="0"/>
                    </a:moveTo>
                    <a:lnTo>
                      <a:pt x="82987" y="0"/>
                    </a:lnTo>
                    <a:lnTo>
                      <a:pt x="82987" y="124707"/>
                    </a:lnTo>
                    <a:lnTo>
                      <a:pt x="0" y="12470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" name="TextBox 44"/>
              <p:cNvSpPr txBox="1"/>
              <p:nvPr/>
            </p:nvSpPr>
            <p:spPr>
              <a:xfrm>
                <a:off x="1136266" y="1937108"/>
                <a:ext cx="1185426" cy="16754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16"/>
                  </a:lnSpc>
                  <a:spcBef>
                    <a:spcPct val="0"/>
                  </a:spcBef>
                </a:pPr>
                <a:r>
                  <a:rPr lang="en-US" sz="1000" b="1" dirty="0">
                    <a:solidFill>
                      <a:srgbClr val="FFFFFF"/>
                    </a:solidFill>
                    <a:latin typeface="IBM Plex Mono" panose="020B0509050203000203" pitchFamily="49" charset="0"/>
                  </a:rPr>
                  <a:t>MEETING DETAILS</a:t>
                </a:r>
              </a:p>
            </p:txBody>
          </p: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5A324E0C-D6FF-8820-4F00-DBFA7525937C}"/>
                  </a:ext>
                </a:extLst>
              </p:cNvPr>
              <p:cNvGrpSpPr/>
              <p:nvPr/>
            </p:nvGrpSpPr>
            <p:grpSpPr>
              <a:xfrm>
                <a:off x="738642" y="2321602"/>
                <a:ext cx="4275305" cy="143116"/>
                <a:chOff x="738642" y="2321602"/>
                <a:chExt cx="4275305" cy="143116"/>
              </a:xfrm>
            </p:grpSpPr>
            <p:sp>
              <p:nvSpPr>
                <p:cNvPr id="46" name="TextBox 46"/>
                <p:cNvSpPr txBox="1"/>
                <p:nvPr/>
              </p:nvSpPr>
              <p:spPr>
                <a:xfrm>
                  <a:off x="738642" y="2321602"/>
                  <a:ext cx="905616" cy="14311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158"/>
                    </a:lnSpc>
                    <a:spcBef>
                      <a:spcPct val="0"/>
                    </a:spcBef>
                  </a:pPr>
                  <a:r>
                    <a:rPr lang="en-US" sz="850" dirty="0">
                      <a:solidFill>
                        <a:srgbClr val="000000"/>
                      </a:solidFill>
                      <a:latin typeface="IBM Plex Mono"/>
                    </a:rPr>
                    <a:t>Time &amp; Date</a:t>
                  </a:r>
                </a:p>
              </p:txBody>
            </p:sp>
            <p:sp>
              <p:nvSpPr>
                <p:cNvPr id="47" name="TextBox 47"/>
                <p:cNvSpPr txBox="1"/>
                <p:nvPr/>
              </p:nvSpPr>
              <p:spPr>
                <a:xfrm>
                  <a:off x="3848376" y="2321602"/>
                  <a:ext cx="1165571" cy="14311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158"/>
                    </a:lnSpc>
                    <a:spcBef>
                      <a:spcPct val="0"/>
                    </a:spcBef>
                  </a:pPr>
                  <a:r>
                    <a:rPr lang="en-US" sz="850" dirty="0">
                      <a:solidFill>
                        <a:srgbClr val="000000"/>
                      </a:solidFill>
                      <a:latin typeface="IBM Plex Mono"/>
                    </a:rPr>
                    <a:t>Meeting Called by</a:t>
                  </a:r>
                </a:p>
              </p:txBody>
            </p:sp>
          </p:grpSp>
          <p:sp>
            <p:nvSpPr>
              <p:cNvPr id="49" name="TextBox 49"/>
              <p:cNvSpPr txBox="1"/>
              <p:nvPr/>
            </p:nvSpPr>
            <p:spPr>
              <a:xfrm>
                <a:off x="738642" y="2942574"/>
                <a:ext cx="905616" cy="1431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158"/>
                  </a:lnSpc>
                  <a:spcBef>
                    <a:spcPct val="0"/>
                  </a:spcBef>
                </a:pPr>
                <a:r>
                  <a:rPr lang="en-US" sz="850" dirty="0">
                    <a:solidFill>
                      <a:srgbClr val="000000"/>
                    </a:solidFill>
                    <a:latin typeface="IBM Plex Mono"/>
                  </a:rPr>
                  <a:t>Please Bring</a:t>
                </a:r>
              </a:p>
            </p:txBody>
          </p:sp>
          <p:sp>
            <p:nvSpPr>
              <p:cNvPr id="51" name="TextBox 51"/>
              <p:cNvSpPr txBox="1"/>
              <p:nvPr/>
            </p:nvSpPr>
            <p:spPr>
              <a:xfrm>
                <a:off x="738642" y="3253060"/>
                <a:ext cx="905616" cy="1431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158"/>
                  </a:lnSpc>
                  <a:spcBef>
                    <a:spcPct val="0"/>
                  </a:spcBef>
                </a:pPr>
                <a:r>
                  <a:rPr lang="en-US" sz="850">
                    <a:solidFill>
                      <a:srgbClr val="000000"/>
                    </a:solidFill>
                    <a:latin typeface="IBM Plex Mono"/>
                  </a:rPr>
                  <a:t>Attendees</a:t>
                </a: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F043B235-4317-7903-B209-335F7B99AE13}"/>
                  </a:ext>
                </a:extLst>
              </p:cNvPr>
              <p:cNvGrpSpPr/>
              <p:nvPr/>
            </p:nvGrpSpPr>
            <p:grpSpPr>
              <a:xfrm>
                <a:off x="738642" y="2632088"/>
                <a:ext cx="4015350" cy="143116"/>
                <a:chOff x="738642" y="2632797"/>
                <a:chExt cx="4015350" cy="143116"/>
              </a:xfrm>
            </p:grpSpPr>
            <p:sp>
              <p:nvSpPr>
                <p:cNvPr id="53" name="TextBox 53"/>
                <p:cNvSpPr txBox="1"/>
                <p:nvPr/>
              </p:nvSpPr>
              <p:spPr>
                <a:xfrm>
                  <a:off x="3848376" y="2632797"/>
                  <a:ext cx="905616" cy="14311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158"/>
                    </a:lnSpc>
                    <a:spcBef>
                      <a:spcPct val="0"/>
                    </a:spcBef>
                  </a:pPr>
                  <a:r>
                    <a:rPr lang="en-US" sz="850">
                      <a:solidFill>
                        <a:srgbClr val="000000"/>
                      </a:solidFill>
                      <a:latin typeface="IBM Plex Mono"/>
                    </a:rPr>
                    <a:t>Notetaker</a:t>
                  </a:r>
                </a:p>
              </p:txBody>
            </p:sp>
            <p:sp>
              <p:nvSpPr>
                <p:cNvPr id="54" name="TextBox 54"/>
                <p:cNvSpPr txBox="1"/>
                <p:nvPr/>
              </p:nvSpPr>
              <p:spPr>
                <a:xfrm>
                  <a:off x="738642" y="2632797"/>
                  <a:ext cx="905616" cy="14311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158"/>
                    </a:lnSpc>
                    <a:spcBef>
                      <a:spcPct val="0"/>
                    </a:spcBef>
                  </a:pPr>
                  <a:r>
                    <a:rPr lang="en-US" sz="850" dirty="0">
                      <a:solidFill>
                        <a:srgbClr val="000000"/>
                      </a:solidFill>
                      <a:latin typeface="IBM Plex Mono"/>
                    </a:rPr>
                    <a:t>Location</a:t>
                  </a:r>
                </a:p>
              </p:txBody>
            </p:sp>
          </p:grpSp>
          <p:sp>
            <p:nvSpPr>
              <p:cNvPr id="20" name="AutoShape 60">
                <a:extLst>
                  <a:ext uri="{FF2B5EF4-FFF2-40B4-BE49-F238E27FC236}">
                    <a16:creationId xmlns:a16="http://schemas.microsoft.com/office/drawing/2014/main" id="{8AB318A3-EBF6-3AD8-6660-9D56C7228981}"/>
                  </a:ext>
                </a:extLst>
              </p:cNvPr>
              <p:cNvSpPr/>
              <p:nvPr/>
            </p:nvSpPr>
            <p:spPr>
              <a:xfrm>
                <a:off x="738642" y="2548403"/>
                <a:ext cx="6082638" cy="0"/>
              </a:xfrm>
              <a:prstGeom prst="line">
                <a:avLst/>
              </a:prstGeom>
              <a:ln w="9525" cap="flat">
                <a:solidFill>
                  <a:srgbClr val="F87E00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" name="AutoShape 60">
                <a:extLst>
                  <a:ext uri="{FF2B5EF4-FFF2-40B4-BE49-F238E27FC236}">
                    <a16:creationId xmlns:a16="http://schemas.microsoft.com/office/drawing/2014/main" id="{B9F0CB16-D6EF-910B-021A-81E67E9218AA}"/>
                  </a:ext>
                </a:extLst>
              </p:cNvPr>
              <p:cNvSpPr/>
              <p:nvPr/>
            </p:nvSpPr>
            <p:spPr>
              <a:xfrm>
                <a:off x="738642" y="2858889"/>
                <a:ext cx="6082638" cy="0"/>
              </a:xfrm>
              <a:prstGeom prst="line">
                <a:avLst/>
              </a:prstGeom>
              <a:ln w="9525" cap="flat">
                <a:solidFill>
                  <a:srgbClr val="F87E00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" name="AutoShape 60">
                <a:extLst>
                  <a:ext uri="{FF2B5EF4-FFF2-40B4-BE49-F238E27FC236}">
                    <a16:creationId xmlns:a16="http://schemas.microsoft.com/office/drawing/2014/main" id="{357780EF-CA41-06FD-335D-3D44EB1F93BA}"/>
                  </a:ext>
                </a:extLst>
              </p:cNvPr>
              <p:cNvSpPr/>
              <p:nvPr/>
            </p:nvSpPr>
            <p:spPr>
              <a:xfrm>
                <a:off x="738642" y="3169375"/>
                <a:ext cx="6082638" cy="0"/>
              </a:xfrm>
              <a:prstGeom prst="line">
                <a:avLst/>
              </a:prstGeom>
              <a:ln w="9525" cap="flat">
                <a:solidFill>
                  <a:srgbClr val="F87E00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AutoShape 60">
                <a:extLst>
                  <a:ext uri="{FF2B5EF4-FFF2-40B4-BE49-F238E27FC236}">
                    <a16:creationId xmlns:a16="http://schemas.microsoft.com/office/drawing/2014/main" id="{05670ACA-B8B5-878C-ACCA-61CD97CE2372}"/>
                  </a:ext>
                </a:extLst>
              </p:cNvPr>
              <p:cNvSpPr/>
              <p:nvPr/>
            </p:nvSpPr>
            <p:spPr>
              <a:xfrm>
                <a:off x="738642" y="3479858"/>
                <a:ext cx="6082638" cy="0"/>
              </a:xfrm>
              <a:prstGeom prst="line">
                <a:avLst/>
              </a:prstGeom>
              <a:ln w="9525" cap="flat">
                <a:solidFill>
                  <a:srgbClr val="F87E00">
                    <a:alpha val="19608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CA4FCC20-482C-6AB7-2C11-EE3FBEDB3FCD}"/>
                </a:ext>
              </a:extLst>
            </p:cNvPr>
            <p:cNvGrpSpPr/>
            <p:nvPr/>
          </p:nvGrpSpPr>
          <p:grpSpPr>
            <a:xfrm>
              <a:off x="756000" y="646964"/>
              <a:ext cx="6048000" cy="916287"/>
              <a:chOff x="756000" y="646964"/>
              <a:chExt cx="6048000" cy="916287"/>
            </a:xfrm>
          </p:grpSpPr>
          <p:sp>
            <p:nvSpPr>
              <p:cNvPr id="10" name="Freeform 10"/>
              <p:cNvSpPr/>
              <p:nvPr/>
            </p:nvSpPr>
            <p:spPr>
              <a:xfrm>
                <a:off x="756000" y="665548"/>
                <a:ext cx="263026" cy="244285"/>
              </a:xfrm>
              <a:custGeom>
                <a:avLst/>
                <a:gdLst/>
                <a:ahLst/>
                <a:cxnLst/>
                <a:rect l="l" t="t" r="r" b="b"/>
                <a:pathLst>
                  <a:path w="263026" h="244285">
                    <a:moveTo>
                      <a:pt x="0" y="0"/>
                    </a:moveTo>
                    <a:lnTo>
                      <a:pt x="263026" y="0"/>
                    </a:lnTo>
                    <a:lnTo>
                      <a:pt x="263026" y="244285"/>
                    </a:lnTo>
                    <a:lnTo>
                      <a:pt x="0" y="24428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" name="TextBox 11"/>
              <p:cNvSpPr txBox="1"/>
              <p:nvPr/>
            </p:nvSpPr>
            <p:spPr>
              <a:xfrm>
                <a:off x="1259175" y="646964"/>
                <a:ext cx="1235371" cy="2249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958"/>
                  </a:lnSpc>
                  <a:spcBef>
                    <a:spcPct val="0"/>
                  </a:spcBef>
                </a:pPr>
                <a:r>
                  <a:rPr lang="en-US" sz="1000" dirty="0" err="1">
                    <a:solidFill>
                      <a:srgbClr val="000000"/>
                    </a:solidFill>
                    <a:latin typeface="IBM Plex Mono"/>
                  </a:rPr>
                  <a:t>DynamoVista</a:t>
                </a:r>
                <a:endParaRPr lang="en-US" sz="1000" dirty="0">
                  <a:solidFill>
                    <a:srgbClr val="000000"/>
                  </a:solidFill>
                  <a:latin typeface="IBM Plex Mono"/>
                </a:endParaRPr>
              </a:p>
            </p:txBody>
          </p:sp>
          <p:sp>
            <p:nvSpPr>
              <p:cNvPr id="12" name="TextBox 12"/>
              <p:cNvSpPr txBox="1"/>
              <p:nvPr/>
            </p:nvSpPr>
            <p:spPr>
              <a:xfrm>
                <a:off x="4999923" y="650348"/>
                <a:ext cx="1792505" cy="2249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958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000000"/>
                    </a:solidFill>
                    <a:latin typeface="IBM Plex Mono"/>
                  </a:rPr>
                  <a:t>www.templateLAB.com</a:t>
                </a:r>
              </a:p>
            </p:txBody>
          </p:sp>
          <p:sp>
            <p:nvSpPr>
              <p:cNvPr id="13" name="TextBox 13"/>
              <p:cNvSpPr txBox="1"/>
              <p:nvPr/>
            </p:nvSpPr>
            <p:spPr>
              <a:xfrm>
                <a:off x="756000" y="1059874"/>
                <a:ext cx="6048000" cy="50337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4048"/>
                  </a:lnSpc>
                </a:pPr>
                <a:r>
                  <a:rPr lang="en-US" sz="3150" b="1" spc="155" dirty="0">
                    <a:solidFill>
                      <a:srgbClr val="000000"/>
                    </a:solidFill>
                    <a:latin typeface="IBM Plex Mono" panose="020B0509050203000203" pitchFamily="49" charset="0"/>
                  </a:rPr>
                  <a:t>BUSINESS MEETING AGENDA</a:t>
                </a:r>
              </a:p>
            </p:txBody>
          </p:sp>
        </p:grpSp>
        <p:sp>
          <p:nvSpPr>
            <p:cNvPr id="64" name="TemplateLAB"/>
            <p:cNvSpPr/>
            <p:nvPr/>
          </p:nvSpPr>
          <p:spPr>
            <a:xfrm rot="5400000">
              <a:off x="6851877" y="9480760"/>
              <a:ext cx="626438" cy="103362"/>
            </a:xfrm>
            <a:custGeom>
              <a:avLst/>
              <a:gdLst/>
              <a:ahLst/>
              <a:cxnLst/>
              <a:rect l="l" t="t" r="r" b="b"/>
              <a:pathLst>
                <a:path w="626438" h="103362">
                  <a:moveTo>
                    <a:pt x="0" y="0"/>
                  </a:moveTo>
                  <a:lnTo>
                    <a:pt x="626437" y="0"/>
                  </a:lnTo>
                  <a:lnTo>
                    <a:pt x="626437" y="103362"/>
                  </a:lnTo>
                  <a:lnTo>
                    <a:pt x="0" y="10336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</TotalTime>
  <Words>26</Words>
  <Application>Microsoft Office PowerPoint</Application>
  <PresentationFormat>Custom</PresentationFormat>
  <Paragraphs>13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IBM Plex Mono</vt:lpstr>
      <vt:lpstr>Calibri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Meeting agenda templates</dc:title>
  <dc:creator>Hoang Anh</dc:creator>
  <cp:lastModifiedBy>Hoang Anh</cp:lastModifiedBy>
  <cp:revision>4</cp:revision>
  <dcterms:created xsi:type="dcterms:W3CDTF">2006-08-16T00:00:00Z</dcterms:created>
  <dcterms:modified xsi:type="dcterms:W3CDTF">2023-11-16T10:22:33Z</dcterms:modified>
  <dc:identifier>DAF0TzegUSY</dc:identifier>
</cp:coreProperties>
</file>